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705" r:id="rId2"/>
  </p:sldMasterIdLst>
  <p:notesMasterIdLst>
    <p:notesMasterId r:id="rId6"/>
  </p:notesMasterIdLst>
  <p:sldIdLst>
    <p:sldId id="271" r:id="rId3"/>
    <p:sldId id="257" r:id="rId4"/>
    <p:sldId id="282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520" y="1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CABEE7-1C1F-4634-8494-5632AB1726C3}" type="datetimeFigureOut">
              <a:rPr lang="en-AU" smtClean="0"/>
              <a:t>10/5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23D44-783E-4EA3-93F3-7B6DE17BC7F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4341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10/05/2024 08:59:5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7128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2592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72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5693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5/1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8729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5/1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4042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5/1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1975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9571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9835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8531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4436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269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85895" y="3973363"/>
            <a:ext cx="9256235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Scenario 13: </a:t>
            </a: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Loading Unit Tramming Characteristics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lang="en-US" altLang="en-US" sz="2000" dirty="0" err="1">
                <a:solidFill>
                  <a:srgbClr val="3F3F3F"/>
                </a:solidFill>
                <a:latin typeface="Calibri" panose="020F0502020204030204" pitchFamily="34" charset="0"/>
              </a:rPr>
              <a:t>Ve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rsion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449" y="1500516"/>
            <a:ext cx="9619861" cy="51484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i="1" kern="0" dirty="0">
                <a:solidFill>
                  <a:srgbClr val="001100"/>
                </a:solidFill>
                <a:latin typeface="Calibri" pitchFamily="34" charset="0"/>
                <a:cs typeface="Calibri" pitchFamily="34" charset="0"/>
              </a:rPr>
              <a:t>Remember LO = Local Object and RO = Remote Object (reference EMERST PR5A)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6EBF286B-4FE4-C54A-907A-A6EFB33676FF}"/>
              </a:ext>
            </a:extLst>
          </p:cNvPr>
          <p:cNvSpPr/>
          <p:nvPr/>
        </p:nvSpPr>
        <p:spPr>
          <a:xfrm>
            <a:off x="888184" y="314776"/>
            <a:ext cx="5098473" cy="5080000"/>
          </a:xfrm>
          <a:prstGeom prst="ellipse">
            <a:avLst/>
          </a:prstGeom>
          <a:solidFill>
            <a:schemeClr val="accent2">
              <a:lumMod val="20000"/>
              <a:lumOff val="80000"/>
              <a:alpha val="60000"/>
            </a:schemeClr>
          </a:solidFill>
          <a:ln w="15875">
            <a:solidFill>
              <a:schemeClr val="accent1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3073EDB-F43A-5848-A5F7-F9E661993D88}"/>
              </a:ext>
            </a:extLst>
          </p:cNvPr>
          <p:cNvGrpSpPr/>
          <p:nvPr/>
        </p:nvGrpSpPr>
        <p:grpSpPr>
          <a:xfrm>
            <a:off x="1386946" y="2225835"/>
            <a:ext cx="2863275" cy="1265382"/>
            <a:chOff x="2512289" y="2068946"/>
            <a:chExt cx="2863275" cy="126538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8712B57-6742-4C47-B8FF-6F5AC591A4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12289" y="2219621"/>
              <a:ext cx="2739160" cy="956532"/>
            </a:xfrm>
            <a:prstGeom prst="rect">
              <a:avLst/>
            </a:prstGeom>
            <a:gradFill>
              <a:gsLst>
                <a:gs pos="4000">
                  <a:schemeClr val="accent1">
                    <a:lumMod val="5000"/>
                    <a:lumOff val="95000"/>
                  </a:schemeClr>
                </a:gs>
                <a:gs pos="15000">
                  <a:schemeClr val="accent1">
                    <a:lumMod val="45000"/>
                    <a:lumOff val="55000"/>
                  </a:schemeClr>
                </a:gs>
                <a:gs pos="40000">
                  <a:schemeClr val="accent1">
                    <a:lumMod val="45000"/>
                    <a:lumOff val="55000"/>
                    <a:alpha val="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F7E5CDC-D32C-A441-AC5D-51A65DBB2625}"/>
                </a:ext>
              </a:extLst>
            </p:cNvPr>
            <p:cNvSpPr/>
            <p:nvPr/>
          </p:nvSpPr>
          <p:spPr>
            <a:xfrm>
              <a:off x="3731491" y="2068946"/>
              <a:ext cx="1644073" cy="1265382"/>
            </a:xfrm>
            <a:prstGeom prst="rect">
              <a:avLst/>
            </a:prstGeom>
            <a:solidFill>
              <a:srgbClr val="C00000">
                <a:alpha val="11000"/>
              </a:srgbClr>
            </a:solidFill>
            <a:ln>
              <a:solidFill>
                <a:srgbClr val="C00000">
                  <a:alpha val="95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57B2CA23-7C60-4148-BF78-803BBD28B4CF}"/>
              </a:ext>
            </a:extLst>
          </p:cNvPr>
          <p:cNvSpPr txBox="1"/>
          <p:nvPr/>
        </p:nvSpPr>
        <p:spPr>
          <a:xfrm>
            <a:off x="6673850" y="582842"/>
            <a:ext cx="49270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meters whilst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mm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ofence deactivates @ speeds &gt;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ph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rmal CAS alarm logic restored @ speeds &gt;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p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arm logic enabled for all equipment typ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B0376E4-F8CE-2846-A549-672D96712E14}"/>
              </a:ext>
            </a:extLst>
          </p:cNvPr>
          <p:cNvSpPr txBox="1"/>
          <p:nvPr/>
        </p:nvSpPr>
        <p:spPr>
          <a:xfrm>
            <a:off x="3472872" y="5871909"/>
            <a:ext cx="8128000" cy="5847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ading Unit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mming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haracteristic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C81AB88-3B85-8948-B60D-28A58234D71B}"/>
              </a:ext>
            </a:extLst>
          </p:cNvPr>
          <p:cNvSpPr/>
          <p:nvPr/>
        </p:nvSpPr>
        <p:spPr>
          <a:xfrm>
            <a:off x="2606147" y="2225835"/>
            <a:ext cx="1644073" cy="1265382"/>
          </a:xfrm>
          <a:prstGeom prst="rect">
            <a:avLst/>
          </a:prstGeom>
          <a:solidFill>
            <a:schemeClr val="accent4">
              <a:lumMod val="60000"/>
              <a:lumOff val="40000"/>
              <a:alpha val="11000"/>
            </a:schemeClr>
          </a:solidFill>
          <a:ln>
            <a:solidFill>
              <a:schemeClr val="accent4">
                <a:lumMod val="50000"/>
                <a:alpha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7791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2700000"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8" presetClass="emph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700000">
                                      <p:cBhvr>
                                        <p:cTn id="10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700000">
                                      <p:cBhvr>
                                        <p:cTn id="12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0.00047 L -0.09557 0.36041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779" y="18032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3.7037E-6 L -0.15078 0.37153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539" y="18565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3.33333E-6 L -0.14779 0.3699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396" y="18495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1000" fill="hold"/>
                                        <p:tgtEl>
                                          <p:spTgt spid="6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6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6" grpId="2" animBg="1"/>
      <p:bldP spid="23" grpId="0" animBg="1"/>
      <p:bldP spid="23" grpId="1" animBg="1"/>
      <p:bldP spid="23" grpId="2" animBg="1"/>
      <p:bldP spid="23" grpId="3" animBg="1"/>
      <p:bldP spid="23" grpId="4" animBg="1"/>
      <p:bldP spid="23" grpId="5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</TotalTime>
  <Words>176</Words>
  <Application>Microsoft Macintosh PowerPoint</Application>
  <PresentationFormat>Widescreen</PresentationFormat>
  <Paragraphs>18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2_Office Theme</vt:lpstr>
      <vt:lpstr>1_Office Theme</vt:lpstr>
      <vt:lpstr>PowerPoint Presentation</vt:lpstr>
      <vt:lpstr>Adapting and Using EMESRT Story Board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Eve McDonald</cp:lastModifiedBy>
  <cp:revision>23</cp:revision>
  <dcterms:created xsi:type="dcterms:W3CDTF">2020-10-07T22:58:51Z</dcterms:created>
  <dcterms:modified xsi:type="dcterms:W3CDTF">2024-05-09T23:00:03Z</dcterms:modified>
</cp:coreProperties>
</file>